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62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layout – With Pic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348D11E-8E76-4679-AB54-2791595567E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83586" y="-385"/>
            <a:ext cx="13704414" cy="10287386"/>
          </a:xfrm>
          <a:custGeom>
            <a:avLst/>
            <a:gdLst>
              <a:gd name="connsiteX0" fmla="*/ 0 w 9136276"/>
              <a:gd name="connsiteY0" fmla="*/ 0 h 6858257"/>
              <a:gd name="connsiteX1" fmla="*/ 9136276 w 9136276"/>
              <a:gd name="connsiteY1" fmla="*/ 0 h 6858257"/>
              <a:gd name="connsiteX2" fmla="*/ 9136276 w 9136276"/>
              <a:gd name="connsiteY2" fmla="*/ 6858000 h 6858257"/>
              <a:gd name="connsiteX3" fmla="*/ 902827 w 9136276"/>
              <a:gd name="connsiteY3" fmla="*/ 6858000 h 6858257"/>
              <a:gd name="connsiteX4" fmla="*/ 3465911 w 9136276"/>
              <a:gd name="connsiteY4" fmla="*/ 4513064 h 6858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36276" h="6858257">
                <a:moveTo>
                  <a:pt x="0" y="0"/>
                </a:moveTo>
                <a:lnTo>
                  <a:pt x="9136276" y="0"/>
                </a:lnTo>
                <a:lnTo>
                  <a:pt x="9136276" y="6858000"/>
                </a:lnTo>
                <a:lnTo>
                  <a:pt x="902827" y="6858000"/>
                </a:lnTo>
                <a:cubicBezTo>
                  <a:pt x="950818" y="6886582"/>
                  <a:pt x="3452644" y="4530780"/>
                  <a:pt x="3465911" y="4513064"/>
                </a:cubicBezTo>
                <a:close/>
              </a:path>
            </a:pathLst>
          </a:cu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7FE672-B31D-4EA2-9AD9-67F121464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3000" y="4323142"/>
            <a:ext cx="5841024" cy="1988345"/>
          </a:xfrm>
        </p:spPr>
        <p:txBody>
          <a:bodyPr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divider page title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A01A85CF-B301-0B44-4C54-69933F337BEB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41064348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 descr="A group of people sitting around a table clapping&#10;&#10;AI-generated content may be incorrect.">
            <a:extLst>
              <a:ext uri="{FF2B5EF4-FFF2-40B4-BE49-F238E27FC236}">
                <a16:creationId xmlns:a16="http://schemas.microsoft.com/office/drawing/2014/main" id="{0020A8C9-8B65-A0D2-9E12-0C70B79AE5E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20" r="28114"/>
          <a:stretch>
            <a:fillRect/>
          </a:stretch>
        </p:blipFill>
        <p:spPr>
          <a:xfrm>
            <a:off x="4583586" y="-385"/>
            <a:ext cx="13704414" cy="10287386"/>
          </a:xfr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3B9A8686-DA2E-D5EA-0ADF-2A82A6DBDE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3000" y="4323142"/>
            <a:ext cx="5841024" cy="1988345"/>
          </a:xfrm>
        </p:spPr>
        <p:txBody>
          <a:bodyPr/>
          <a:lstStyle/>
          <a:p>
            <a:r>
              <a:rPr lang="en-US" dirty="0"/>
              <a:t>Divider Slide with Image</a:t>
            </a:r>
          </a:p>
        </p:txBody>
      </p:sp>
    </p:spTree>
    <p:extLst>
      <p:ext uri="{BB962C8B-B14F-4D97-AF65-F5344CB8AC3E}">
        <p14:creationId xmlns:p14="http://schemas.microsoft.com/office/powerpoint/2010/main" val="9967316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885</TotalTime>
  <Words>4</Words>
  <Application>Microsoft Office PowerPoint</Application>
  <PresentationFormat>Custom</PresentationFormat>
  <Paragraphs>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Divider Slide with Imag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270</cp:revision>
  <dcterms:created xsi:type="dcterms:W3CDTF">2006-08-16T00:00:00Z</dcterms:created>
  <dcterms:modified xsi:type="dcterms:W3CDTF">2025-10-06T08:48:33Z</dcterms:modified>
  <cp:category/>
  <dc:identifier>DAGkDf5R9EM</dc:identifier>
</cp:coreProperties>
</file>